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081" r:id="rId1"/>
    <p:sldMasterId id="2147484092" r:id="rId2"/>
    <p:sldMasterId id="2147484104" r:id="rId3"/>
    <p:sldMasterId id="2147484132" r:id="rId4"/>
  </p:sldMasterIdLst>
  <p:notesMasterIdLst>
    <p:notesMasterId r:id="rId11"/>
  </p:notesMasterIdLst>
  <p:handoutMasterIdLst>
    <p:handoutMasterId r:id="rId12"/>
  </p:handoutMasterIdLst>
  <p:sldIdLst>
    <p:sldId id="257" r:id="rId5"/>
    <p:sldId id="398" r:id="rId6"/>
    <p:sldId id="401" r:id="rId7"/>
    <p:sldId id="399" r:id="rId8"/>
    <p:sldId id="400" r:id="rId9"/>
    <p:sldId id="279" r:id="rId10"/>
  </p:sldIdLst>
  <p:sldSz cx="12192000" cy="6858000"/>
  <p:notesSz cx="7315200" cy="96012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dhwar, Nupur" initials="BN" lastIdx="5" clrIdx="0">
    <p:extLst>
      <p:ext uri="{19B8F6BF-5375-455C-9EA6-DF929625EA0E}">
        <p15:presenceInfo xmlns:p15="http://schemas.microsoft.com/office/powerpoint/2012/main" userId="S-1-5-21-776561741-1482476501-682003330-1043482" providerId="AD"/>
      </p:ext>
    </p:extLst>
  </p:cmAuthor>
  <p:cmAuthor id="2" name="Badhwar, Nupur (IN - Mumbai)" initials="BN(-M" lastIdx="1" clrIdx="1">
    <p:extLst>
      <p:ext uri="{19B8F6BF-5375-455C-9EA6-DF929625EA0E}">
        <p15:presenceInfo xmlns:p15="http://schemas.microsoft.com/office/powerpoint/2012/main" userId="Badhwar, Nupur (IN - Mumbai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AA0023"/>
    <a:srgbClr val="E6E6E6"/>
    <a:srgbClr val="0070C0"/>
    <a:srgbClr val="4F81BD"/>
    <a:srgbClr val="E0F0FA"/>
    <a:srgbClr val="F2F2F2"/>
    <a:srgbClr val="012169"/>
    <a:srgbClr val="62B5E5"/>
    <a:srgbClr val="0097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66" autoAdjust="0"/>
    <p:restoredTop sz="94984" autoAdjust="0"/>
  </p:normalViewPr>
  <p:slideViewPr>
    <p:cSldViewPr snapToGrid="0" showGuides="1">
      <p:cViewPr varScale="1">
        <p:scale>
          <a:sx n="103" d="100"/>
          <a:sy n="103" d="100"/>
        </p:scale>
        <p:origin x="92" y="224"/>
      </p:cViewPr>
      <p:guideLst>
        <p:guide/>
        <p:guide orient="horz" pos="216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83822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2/7/2022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2/7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60108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60789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D_LAN_peProposalTitle"/>
          <p:cNvSpPr>
            <a:spLocks noGrp="1"/>
          </p:cNvSpPr>
          <p:nvPr>
            <p:ph type="ctrTitle" hasCustomPrompt="1"/>
          </p:nvPr>
        </p:nvSpPr>
        <p:spPr bwMode="gray">
          <a:xfrm>
            <a:off x="475255" y="5527074"/>
            <a:ext cx="5511492" cy="347587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1497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GB" dirty="0"/>
              <a:t>Title runs here</a:t>
            </a:r>
            <a:endParaRPr lang="en-GB" noProof="0" dirty="0"/>
          </a:p>
        </p:txBody>
      </p:sp>
      <p:sp>
        <p:nvSpPr>
          <p:cNvPr id="24" name="SD_LAN_peProposal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1957" y="5874553"/>
            <a:ext cx="5512715" cy="5072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25">
                <a:solidFill>
                  <a:schemeClr val="tx1"/>
                </a:solidFill>
              </a:defRPr>
            </a:lvl1pPr>
            <a:lvl2pPr marL="336963" indent="0" algn="ctr">
              <a:buNone/>
              <a:defRPr sz="1474"/>
            </a:lvl2pPr>
            <a:lvl3pPr marL="673924" indent="0" algn="ctr">
              <a:buNone/>
              <a:defRPr sz="1326"/>
            </a:lvl3pPr>
            <a:lvl4pPr marL="1010885" indent="0" algn="ctr">
              <a:buNone/>
              <a:defRPr sz="1179"/>
            </a:lvl4pPr>
            <a:lvl5pPr marL="1347847" indent="0" algn="ctr">
              <a:buNone/>
              <a:defRPr sz="1179"/>
            </a:lvl5pPr>
            <a:lvl6pPr marL="1684809" indent="0" algn="ctr">
              <a:buNone/>
              <a:defRPr sz="1179"/>
            </a:lvl6pPr>
            <a:lvl7pPr marL="2021771" indent="0" algn="ctr">
              <a:buNone/>
              <a:defRPr sz="1179"/>
            </a:lvl7pPr>
            <a:lvl8pPr marL="2358732" indent="0" algn="ctr">
              <a:buNone/>
              <a:defRPr sz="1179"/>
            </a:lvl8pPr>
            <a:lvl9pPr marL="2695694" indent="0" algn="ctr">
              <a:buNone/>
              <a:defRPr sz="1179"/>
            </a:lvl9pPr>
          </a:lstStyle>
          <a:p>
            <a:pPr lvl="0"/>
            <a:r>
              <a:rPr lang="en-GB" dirty="0"/>
              <a:t>Subtitle here two lines max</a:t>
            </a:r>
          </a:p>
        </p:txBody>
      </p: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3018063" y="711296"/>
            <a:ext cx="6157684" cy="4898782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Drag picture to placeholder or click icon to add</a:t>
            </a:r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12"/>
          </p:nvPr>
        </p:nvSpPr>
        <p:spPr>
          <a:xfrm>
            <a:off x="6205419" y="6476366"/>
            <a:ext cx="4896560" cy="24482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SD_ART_Logo"/>
          <p:cNvSpPr/>
          <p:nvPr userDrawn="1"/>
        </p:nvSpPr>
        <p:spPr>
          <a:xfrm>
            <a:off x="502584" y="374439"/>
            <a:ext cx="2438443" cy="8523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4" dirty="0"/>
          </a:p>
        </p:txBody>
      </p:sp>
      <p:sp>
        <p:nvSpPr>
          <p:cNvPr id="11" name="SD_USR_Name" hidden="1"/>
          <p:cNvSpPr/>
          <p:nvPr userDrawn="1"/>
        </p:nvSpPr>
        <p:spPr bwMode="gray">
          <a:xfrm>
            <a:off x="11029823" y="161784"/>
            <a:ext cx="685480" cy="38212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60485" tIns="60485" rIns="60485" bIns="6048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00" b="1" noProof="0" dirty="0">
              <a:solidFill>
                <a:schemeClr val="bg1"/>
              </a:solidFill>
            </a:endParaRPr>
          </a:p>
        </p:txBody>
      </p:sp>
      <p:sp>
        <p:nvSpPr>
          <p:cNvPr id="12" name="SD_FLD_DocumentDate" hidden="1"/>
          <p:cNvSpPr/>
          <p:nvPr userDrawn="1"/>
        </p:nvSpPr>
        <p:spPr bwMode="gray">
          <a:xfrm>
            <a:off x="11010515" y="161784"/>
            <a:ext cx="685480" cy="38212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60485" tIns="60485" rIns="60485" bIns="6048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00" b="1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6963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50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D_LAN_peProposalTitle"/>
          <p:cNvSpPr>
            <a:spLocks noGrp="1"/>
          </p:cNvSpPr>
          <p:nvPr>
            <p:ph type="ctrTitle" hasCustomPrompt="1"/>
          </p:nvPr>
        </p:nvSpPr>
        <p:spPr bwMode="gray">
          <a:xfrm>
            <a:off x="475255" y="5527074"/>
            <a:ext cx="5511492" cy="347587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1497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GB" dirty="0"/>
              <a:t>Title runs here</a:t>
            </a:r>
            <a:endParaRPr lang="en-GB" noProof="0" dirty="0"/>
          </a:p>
        </p:txBody>
      </p:sp>
      <p:sp>
        <p:nvSpPr>
          <p:cNvPr id="24" name="SD_LAN_peProposal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1957" y="5874553"/>
            <a:ext cx="5512715" cy="5072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25">
                <a:solidFill>
                  <a:schemeClr val="tx1"/>
                </a:solidFill>
              </a:defRPr>
            </a:lvl1pPr>
            <a:lvl2pPr marL="336963" indent="0" algn="ctr">
              <a:buNone/>
              <a:defRPr sz="1474"/>
            </a:lvl2pPr>
            <a:lvl3pPr marL="673924" indent="0" algn="ctr">
              <a:buNone/>
              <a:defRPr sz="1326"/>
            </a:lvl3pPr>
            <a:lvl4pPr marL="1010885" indent="0" algn="ctr">
              <a:buNone/>
              <a:defRPr sz="1179"/>
            </a:lvl4pPr>
            <a:lvl5pPr marL="1347847" indent="0" algn="ctr">
              <a:buNone/>
              <a:defRPr sz="1179"/>
            </a:lvl5pPr>
            <a:lvl6pPr marL="1684809" indent="0" algn="ctr">
              <a:buNone/>
              <a:defRPr sz="1179"/>
            </a:lvl6pPr>
            <a:lvl7pPr marL="2021771" indent="0" algn="ctr">
              <a:buNone/>
              <a:defRPr sz="1179"/>
            </a:lvl7pPr>
            <a:lvl8pPr marL="2358732" indent="0" algn="ctr">
              <a:buNone/>
              <a:defRPr sz="1179"/>
            </a:lvl8pPr>
            <a:lvl9pPr marL="2695694" indent="0" algn="ctr">
              <a:buNone/>
              <a:defRPr sz="1179"/>
            </a:lvl9pPr>
          </a:lstStyle>
          <a:p>
            <a:pPr lvl="0"/>
            <a:r>
              <a:rPr lang="en-GB" dirty="0"/>
              <a:t>Subtitle here two lines max</a:t>
            </a:r>
          </a:p>
        </p:txBody>
      </p: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3018063" y="711296"/>
            <a:ext cx="6157684" cy="4898782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Drag picture to placeholder or click icon to add</a:t>
            </a:r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12"/>
          </p:nvPr>
        </p:nvSpPr>
        <p:spPr>
          <a:xfrm>
            <a:off x="6205419" y="6476366"/>
            <a:ext cx="4896560" cy="24482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SD_ART_Logo"/>
          <p:cNvSpPr/>
          <p:nvPr userDrawn="1"/>
        </p:nvSpPr>
        <p:spPr>
          <a:xfrm>
            <a:off x="502584" y="374439"/>
            <a:ext cx="2438443" cy="8523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4" dirty="0"/>
          </a:p>
        </p:txBody>
      </p:sp>
      <p:sp>
        <p:nvSpPr>
          <p:cNvPr id="11" name="SD_USR_Name" hidden="1"/>
          <p:cNvSpPr/>
          <p:nvPr userDrawn="1"/>
        </p:nvSpPr>
        <p:spPr bwMode="gray">
          <a:xfrm>
            <a:off x="11029823" y="161784"/>
            <a:ext cx="685480" cy="38212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60485" tIns="60485" rIns="60485" bIns="6048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00" b="1" noProof="0" dirty="0">
              <a:solidFill>
                <a:schemeClr val="bg1"/>
              </a:solidFill>
            </a:endParaRPr>
          </a:p>
        </p:txBody>
      </p:sp>
      <p:sp>
        <p:nvSpPr>
          <p:cNvPr id="12" name="SD_FLD_DocumentDate" hidden="1"/>
          <p:cNvSpPr/>
          <p:nvPr userDrawn="1"/>
        </p:nvSpPr>
        <p:spPr bwMode="gray">
          <a:xfrm>
            <a:off x="11010515" y="161784"/>
            <a:ext cx="685480" cy="38212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60485" tIns="60485" rIns="60485" bIns="6048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00" b="1" noProof="0" dirty="0">
              <a:solidFill>
                <a:schemeClr val="bg1"/>
              </a:solidFill>
            </a:endParaRPr>
          </a:p>
        </p:txBody>
      </p:sp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23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25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26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46837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50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30060" y="1844069"/>
            <a:ext cx="8354987" cy="1592403"/>
          </a:xfrm>
        </p:spPr>
        <p:txBody>
          <a:bodyPr anchor="b"/>
          <a:lstStyle>
            <a:lvl1pPr>
              <a:lnSpc>
                <a:spcPct val="95000"/>
              </a:lnSpc>
              <a:defRPr sz="2654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165" y="1534626"/>
            <a:ext cx="3152120" cy="3152203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>
          <a:xfrm>
            <a:off x="3508400" y="2667467"/>
            <a:ext cx="856702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3508400" y="3755372"/>
            <a:ext cx="856702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2079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94203" y="651601"/>
            <a:ext cx="11201795" cy="7572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6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4203" y="317504"/>
            <a:ext cx="1120179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b="1"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94203" y="1666262"/>
            <a:ext cx="11201795" cy="47129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704930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94203" y="651609"/>
            <a:ext cx="1120179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6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4203" y="317505"/>
            <a:ext cx="11201795" cy="3340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b="1"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94203" y="1666262"/>
            <a:ext cx="11201795" cy="47129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179"/>
            </a:lvl1pPr>
            <a:lvl2pPr>
              <a:defRPr sz="1179"/>
            </a:lvl2pPr>
            <a:lvl3pPr>
              <a:defRPr sz="1179"/>
            </a:lvl3pPr>
            <a:lvl4pPr>
              <a:defRPr sz="1179"/>
            </a:lvl4pPr>
            <a:lvl5pPr>
              <a:defRPr sz="1179"/>
            </a:lvl5pPr>
            <a:lvl6pPr marL="262672" indent="0">
              <a:buNone/>
              <a:defRPr sz="1179"/>
            </a:lvl6pPr>
            <a:lvl7pPr>
              <a:defRPr sz="1179"/>
            </a:lvl7pPr>
            <a:lvl8pPr>
              <a:defRPr sz="1179"/>
            </a:lvl8pPr>
            <a:lvl9pPr>
              <a:defRPr sz="1179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563710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4265" y="317506"/>
            <a:ext cx="11201727" cy="334095"/>
          </a:xfrm>
        </p:spPr>
        <p:txBody>
          <a:bodyPr/>
          <a:lstStyle/>
          <a:p>
            <a:r>
              <a:rPr lang="en-GB" dirty="0"/>
              <a:t>Click to add title</a:t>
            </a:r>
            <a:endParaRPr lang="en-GB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3955" y="1700216"/>
            <a:ext cx="3655384" cy="1971674"/>
          </a:xfrm>
        </p:spPr>
        <p:txBody>
          <a:bodyPr/>
          <a:lstStyle/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47988" y="1700216"/>
            <a:ext cx="3655384" cy="1971674"/>
          </a:xfrm>
        </p:spPr>
        <p:txBody>
          <a:bodyPr/>
          <a:lstStyle/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5971" y="1700219"/>
            <a:ext cx="3655384" cy="1971674"/>
          </a:xfrm>
        </p:spPr>
        <p:txBody>
          <a:bodyPr/>
          <a:lstStyle/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3955" y="3832226"/>
            <a:ext cx="3655384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5971" y="3832226"/>
            <a:ext cx="3655384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47988" y="3832226"/>
            <a:ext cx="3655384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94203" y="651609"/>
            <a:ext cx="1120179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6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40313877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94203" y="651601"/>
            <a:ext cx="11201795" cy="7572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6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94203" y="317504"/>
            <a:ext cx="1120179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b="1"/>
            </a:lvl1pPr>
          </a:lstStyle>
          <a:p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8139724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4203" y="317508"/>
            <a:ext cx="11201795" cy="692150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1716134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27051" y="4211959"/>
            <a:ext cx="8503539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425"/>
              </a:spcAft>
              <a:defRPr sz="638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52" y="4535909"/>
            <a:ext cx="2012853" cy="1401498"/>
          </a:xfrm>
        </p:spPr>
        <p:txBody>
          <a:bodyPr anchor="ctr" anchorCtr="0"/>
          <a:lstStyle>
            <a:lvl1pPr algn="ctr">
              <a:defRPr sz="638"/>
            </a:lvl1pPr>
          </a:lstStyle>
          <a:p>
            <a:r>
              <a:rPr lang="en-GB" sz="638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4" y="6018032"/>
            <a:ext cx="2012852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674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06013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8" y="1700214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2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107" algn="r"/>
              </a:tabLst>
              <a:defRPr/>
            </a:lvl1pPr>
            <a:lvl2pPr>
              <a:tabLst>
                <a:tab pos="5029107" algn="r"/>
              </a:tabLst>
              <a:defRPr/>
            </a:lvl2pPr>
            <a:lvl3pPr>
              <a:tabLst>
                <a:tab pos="5029107" algn="r"/>
              </a:tabLst>
              <a:defRPr/>
            </a:lvl3pPr>
            <a:lvl4pPr>
              <a:tabLst>
                <a:tab pos="5029107" algn="r"/>
              </a:tabLst>
              <a:defRPr/>
            </a:lvl4pPr>
            <a:lvl5pPr>
              <a:tabLst>
                <a:tab pos="5029107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3007638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70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49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49">
                <a:solidFill>
                  <a:schemeClr val="bg1"/>
                </a:solidFill>
              </a:defRPr>
            </a:lvl1pPr>
            <a:lvl2pPr marL="609402" indent="0">
              <a:buNone/>
              <a:defRPr sz="2666">
                <a:solidFill>
                  <a:schemeClr val="tx1">
                    <a:tint val="75000"/>
                  </a:schemeClr>
                </a:solidFill>
              </a:defRPr>
            </a:lvl2pPr>
            <a:lvl3pPr marL="1218804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3pPr>
            <a:lvl4pPr marL="1828205" indent="0">
              <a:buNone/>
              <a:defRPr sz="2132">
                <a:solidFill>
                  <a:schemeClr val="tx1">
                    <a:tint val="75000"/>
                  </a:schemeClr>
                </a:solidFill>
              </a:defRPr>
            </a:lvl4pPr>
            <a:lvl5pPr marL="2437607" indent="0">
              <a:buNone/>
              <a:defRPr sz="2132">
                <a:solidFill>
                  <a:schemeClr val="tx1">
                    <a:tint val="75000"/>
                  </a:schemeClr>
                </a:solidFill>
              </a:defRPr>
            </a:lvl5pPr>
            <a:lvl6pPr marL="3047010" indent="0">
              <a:buNone/>
              <a:defRPr sz="2132">
                <a:solidFill>
                  <a:schemeClr val="tx1">
                    <a:tint val="75000"/>
                  </a:schemeClr>
                </a:solidFill>
              </a:defRPr>
            </a:lvl6pPr>
            <a:lvl7pPr marL="3656412" indent="0">
              <a:buNone/>
              <a:defRPr sz="2132">
                <a:solidFill>
                  <a:schemeClr val="tx1">
                    <a:tint val="75000"/>
                  </a:schemeClr>
                </a:solidFill>
              </a:defRPr>
            </a:lvl7pPr>
            <a:lvl8pPr marL="4265813" indent="0">
              <a:buNone/>
              <a:defRPr sz="2132">
                <a:solidFill>
                  <a:schemeClr val="tx1">
                    <a:tint val="75000"/>
                  </a:schemeClr>
                </a:solidFill>
              </a:defRPr>
            </a:lvl8pPr>
            <a:lvl9pPr marL="4875215" indent="0">
              <a:buNone/>
              <a:defRPr sz="213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6" y="6477002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3409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30060" y="1844069"/>
            <a:ext cx="8354987" cy="1592403"/>
          </a:xfrm>
        </p:spPr>
        <p:txBody>
          <a:bodyPr anchor="b"/>
          <a:lstStyle>
            <a:lvl1pPr>
              <a:lnSpc>
                <a:spcPct val="95000"/>
              </a:lnSpc>
              <a:defRPr sz="2654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165" y="1534626"/>
            <a:ext cx="3152120" cy="3152203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>
          <a:xfrm>
            <a:off x="3508400" y="2667467"/>
            <a:ext cx="856702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3508400" y="3755372"/>
            <a:ext cx="856702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37967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35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1516">
              <a:spcBef>
                <a:spcPts val="91"/>
              </a:spcBef>
            </a:pPr>
            <a:endParaRPr lang="fr-FR" spc="-9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D48141-13D9-4117-9C8D-F62784B4F555}" type="datetime1">
              <a:rPr lang="en-US" smtClean="0"/>
              <a:t>12/7/2022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35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23033">
              <a:spcBef>
                <a:spcPts val="91"/>
              </a:spcBef>
            </a:pPr>
            <a:fld id="{81D60167-4931-47E6-BA6A-407CBD079E47}" type="slidenum">
              <a:rPr lang="en-IN" spc="-5" smtClean="0"/>
              <a:pPr marL="23033">
                <a:spcBef>
                  <a:spcPts val="91"/>
                </a:spcBef>
              </a:pPr>
              <a:t>‹#›</a:t>
            </a:fld>
            <a:endParaRPr lang="en-IN" spc="-5" dirty="0"/>
          </a:p>
        </p:txBody>
      </p:sp>
    </p:spTree>
    <p:extLst>
      <p:ext uri="{BB962C8B-B14F-4D97-AF65-F5344CB8AC3E}">
        <p14:creationId xmlns:p14="http://schemas.microsoft.com/office/powerpoint/2010/main" val="8100349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9229917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699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3" y="1665292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1205642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Version 10.0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discussion: ver-7 13th Nov 2019 15:45 hour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459759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94203" y="651601"/>
            <a:ext cx="11201795" cy="7572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6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4203" y="317504"/>
            <a:ext cx="1120179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b="1"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94203" y="1666262"/>
            <a:ext cx="11201795" cy="47129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877471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94203" y="651609"/>
            <a:ext cx="1120179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6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4203" y="317505"/>
            <a:ext cx="11201795" cy="3340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b="1"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94203" y="1666262"/>
            <a:ext cx="11201795" cy="47129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179"/>
            </a:lvl1pPr>
            <a:lvl2pPr>
              <a:defRPr sz="1179"/>
            </a:lvl2pPr>
            <a:lvl3pPr>
              <a:defRPr sz="1179"/>
            </a:lvl3pPr>
            <a:lvl4pPr>
              <a:defRPr sz="1179"/>
            </a:lvl4pPr>
            <a:lvl5pPr>
              <a:defRPr sz="1179"/>
            </a:lvl5pPr>
            <a:lvl6pPr marL="262672" indent="0">
              <a:buNone/>
              <a:defRPr sz="1179"/>
            </a:lvl6pPr>
            <a:lvl7pPr>
              <a:defRPr sz="1179"/>
            </a:lvl7pPr>
            <a:lvl8pPr>
              <a:defRPr sz="1179"/>
            </a:lvl8pPr>
            <a:lvl9pPr>
              <a:defRPr sz="1179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236257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4265" y="317506"/>
            <a:ext cx="11201727" cy="334095"/>
          </a:xfrm>
        </p:spPr>
        <p:txBody>
          <a:bodyPr/>
          <a:lstStyle/>
          <a:p>
            <a:r>
              <a:rPr lang="en-GB" dirty="0"/>
              <a:t>Click to add title</a:t>
            </a:r>
            <a:endParaRPr lang="en-GB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3955" y="1700216"/>
            <a:ext cx="3655384" cy="1971674"/>
          </a:xfrm>
        </p:spPr>
        <p:txBody>
          <a:bodyPr/>
          <a:lstStyle/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47988" y="1700216"/>
            <a:ext cx="3655384" cy="1971674"/>
          </a:xfrm>
        </p:spPr>
        <p:txBody>
          <a:bodyPr/>
          <a:lstStyle/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5971" y="1700219"/>
            <a:ext cx="3655384" cy="1971674"/>
          </a:xfrm>
        </p:spPr>
        <p:txBody>
          <a:bodyPr/>
          <a:lstStyle/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3955" y="3832226"/>
            <a:ext cx="3655384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5971" y="3832226"/>
            <a:ext cx="3655384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47988" y="3832226"/>
            <a:ext cx="3655384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94203" y="651609"/>
            <a:ext cx="1120179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6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1320948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94203" y="651601"/>
            <a:ext cx="11201795" cy="7572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6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94203" y="317504"/>
            <a:ext cx="1120179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b="1"/>
            </a:lvl1pPr>
          </a:lstStyle>
          <a:p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9262544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4203" y="317508"/>
            <a:ext cx="11201795" cy="692150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18630771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27051" y="4211959"/>
            <a:ext cx="8503539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425"/>
              </a:spcAft>
              <a:defRPr sz="638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52" y="4535909"/>
            <a:ext cx="2012853" cy="1401498"/>
          </a:xfrm>
        </p:spPr>
        <p:txBody>
          <a:bodyPr anchor="ctr" anchorCtr="0"/>
          <a:lstStyle>
            <a:lvl1pPr algn="ctr">
              <a:defRPr sz="638"/>
            </a:lvl1pPr>
          </a:lstStyle>
          <a:p>
            <a:r>
              <a:rPr lang="en-GB" sz="638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4" y="6018032"/>
            <a:ext cx="2012852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674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95789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8" y="1700214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2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107" algn="r"/>
              </a:tabLst>
              <a:defRPr/>
            </a:lvl1pPr>
            <a:lvl2pPr>
              <a:tabLst>
                <a:tab pos="5029107" algn="r"/>
              </a:tabLst>
              <a:defRPr/>
            </a:lvl2pPr>
            <a:lvl3pPr>
              <a:tabLst>
                <a:tab pos="5029107" algn="r"/>
              </a:tabLst>
              <a:defRPr/>
            </a:lvl3pPr>
            <a:lvl4pPr>
              <a:tabLst>
                <a:tab pos="5029107" algn="r"/>
              </a:tabLst>
              <a:defRPr/>
            </a:lvl4pPr>
            <a:lvl5pPr>
              <a:tabLst>
                <a:tab pos="5029107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850674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1" y="1594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94203" y="317508"/>
            <a:ext cx="1120179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94203" y="1665289"/>
            <a:ext cx="1120179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1388022" y="6476368"/>
            <a:ext cx="307973" cy="983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442"/>
              </a:spcBef>
              <a:buSzPct val="100000"/>
              <a:buFont typeface="Arial"/>
              <a:buNone/>
            </a:pPr>
            <a:fld id="{C58DF478-B544-4ED8-9ED4-6A2648E2D233}" type="slidenum">
              <a:rPr lang="en-US" sz="479" noProof="0">
                <a:solidFill>
                  <a:schemeClr val="tx1"/>
                </a:solidFill>
              </a:rPr>
              <a:pPr marL="0" indent="0" algn="r">
                <a:spcBef>
                  <a:spcPts val="442"/>
                </a:spcBef>
                <a:buSzPct val="100000"/>
                <a:buFont typeface="Arial"/>
                <a:buNone/>
              </a:pPr>
              <a:t>‹#›</a:t>
            </a:fld>
            <a:endParaRPr lang="en-US" sz="479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6377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2" r:id="rId1"/>
    <p:sldLayoutId id="2147484083" r:id="rId2"/>
    <p:sldLayoutId id="2147484084" r:id="rId3"/>
    <p:sldLayoutId id="2147484085" r:id="rId4"/>
    <p:sldLayoutId id="2147484086" r:id="rId5"/>
    <p:sldLayoutId id="2147484087" r:id="rId6"/>
    <p:sldLayoutId id="2147484088" r:id="rId7"/>
    <p:sldLayoutId id="2147484089" r:id="rId8"/>
    <p:sldLayoutId id="2147484091" r:id="rId9"/>
  </p:sldLayoutIdLst>
  <p:transition>
    <p:fade/>
  </p:transition>
  <p:hf hdr="0" ftr="0" dt="0"/>
  <p:txStyles>
    <p:titleStyle>
      <a:lvl1pPr algn="l" defTabSz="673928" rtl="0" eaLnBrk="1" latinLnBrk="0" hangingPunct="1">
        <a:spcBef>
          <a:spcPct val="0"/>
        </a:spcBef>
        <a:buNone/>
        <a:defRPr sz="136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73928" rtl="0" eaLnBrk="1" latinLnBrk="0" hangingPunct="1">
        <a:spcBef>
          <a:spcPts val="0"/>
        </a:spcBef>
        <a:spcAft>
          <a:spcPts val="737"/>
        </a:spcAft>
        <a:buSzPct val="100000"/>
        <a:buFont typeface="Arial" panose="020B0604020202020204" pitchFamily="34" charset="0"/>
        <a:buChar char="​"/>
        <a:defRPr sz="68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73928" rtl="0" eaLnBrk="1" latinLnBrk="0" hangingPunct="1">
        <a:spcBef>
          <a:spcPts val="0"/>
        </a:spcBef>
        <a:spcAft>
          <a:spcPts val="737"/>
        </a:spcAft>
        <a:buClrTx/>
        <a:buSzPct val="100000"/>
        <a:buFont typeface="Arial" panose="020B0604020202020204" pitchFamily="34" charset="0"/>
        <a:buChar char="​"/>
        <a:defRPr lang="en-US" sz="680" b="1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30009" indent="-130009" algn="l" defTabSz="673928" rtl="0" eaLnBrk="1" latinLnBrk="0" hangingPunct="1">
        <a:spcBef>
          <a:spcPts val="0"/>
        </a:spcBef>
        <a:spcAft>
          <a:spcPts val="737"/>
        </a:spcAft>
        <a:buClrTx/>
        <a:buSzPct val="100000"/>
        <a:buFont typeface="Arial" panose="020B0604020202020204" pitchFamily="34" charset="0"/>
        <a:buChar char="•"/>
        <a:defRPr lang="en-US" sz="68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262673" indent="-130009" algn="l" defTabSz="673928" rtl="0" eaLnBrk="1" latinLnBrk="0" hangingPunct="1">
        <a:spcBef>
          <a:spcPts val="0"/>
        </a:spcBef>
        <a:spcAft>
          <a:spcPts val="737"/>
        </a:spcAft>
        <a:buClrTx/>
        <a:buSzPct val="100000"/>
        <a:buFont typeface="Verdana" panose="020B0604030504040204" pitchFamily="34" charset="0"/>
        <a:buChar char="−"/>
        <a:defRPr lang="en-US" sz="68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392682" indent="-130009" algn="l" defTabSz="588517" rtl="0" eaLnBrk="1" latinLnBrk="0" hangingPunct="1">
        <a:spcBef>
          <a:spcPts val="0"/>
        </a:spcBef>
        <a:spcAft>
          <a:spcPts val="737"/>
        </a:spcAft>
        <a:buClrTx/>
        <a:buSzPct val="100000"/>
        <a:buFont typeface="Verdana" panose="020B0604030504040204" pitchFamily="34" charset="0"/>
        <a:buChar char="−"/>
        <a:tabLst/>
        <a:defRPr lang="en-US" sz="68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392682" indent="-130009" algn="l" defTabSz="673928" rtl="0" eaLnBrk="1" latinLnBrk="0" hangingPunct="1">
        <a:spcBef>
          <a:spcPts val="0"/>
        </a:spcBef>
        <a:spcAft>
          <a:spcPts val="737"/>
        </a:spcAft>
        <a:buFont typeface="Verdana" panose="020B0604030504040204" pitchFamily="34" charset="0"/>
        <a:buChar char="−"/>
        <a:defRPr sz="68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2682" indent="-130009" algn="l" defTabSz="673928" rtl="0" eaLnBrk="1" latinLnBrk="0" hangingPunct="1">
        <a:spcBef>
          <a:spcPts val="0"/>
        </a:spcBef>
        <a:spcAft>
          <a:spcPts val="737"/>
        </a:spcAft>
        <a:buFont typeface="Verdana" panose="020B0604030504040204" pitchFamily="34" charset="0"/>
        <a:buChar char="−"/>
        <a:defRPr sz="680" kern="1200">
          <a:solidFill>
            <a:schemeClr val="tx1"/>
          </a:solidFill>
          <a:latin typeface="+mn-lt"/>
          <a:ea typeface="+mn-ea"/>
          <a:cs typeface="+mn-cs"/>
        </a:defRPr>
      </a:lvl7pPr>
      <a:lvl8pPr marL="392682" indent="-130009" algn="l" defTabSz="673928" rtl="0" eaLnBrk="1" latinLnBrk="0" hangingPunct="1">
        <a:spcBef>
          <a:spcPts val="0"/>
        </a:spcBef>
        <a:spcAft>
          <a:spcPts val="737"/>
        </a:spcAft>
        <a:buFont typeface="Verdana" panose="020B0604030504040204" pitchFamily="34" charset="0"/>
        <a:buChar char="−"/>
        <a:defRPr sz="68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2682" indent="-130009" algn="l" defTabSz="673928" rtl="0" eaLnBrk="1" latinLnBrk="0" hangingPunct="1">
        <a:spcBef>
          <a:spcPts val="0"/>
        </a:spcBef>
        <a:spcAft>
          <a:spcPts val="737"/>
        </a:spcAft>
        <a:buFont typeface="Verdana" panose="020B0604030504040204" pitchFamily="34" charset="0"/>
        <a:buChar char="−"/>
        <a:defRPr sz="68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1pPr>
      <a:lvl2pPr marL="336965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2pPr>
      <a:lvl3pPr marL="673928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3pPr>
      <a:lvl4pPr marL="1010892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4pPr>
      <a:lvl5pPr marL="1347855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5pPr>
      <a:lvl6pPr marL="1684820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6pPr>
      <a:lvl7pPr marL="2021783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7pPr>
      <a:lvl8pPr marL="2358747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8pPr>
      <a:lvl9pPr marL="2695711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99">
          <p15:clr>
            <a:srgbClr val="F26B43"/>
          </p15:clr>
        </p15:guide>
        <p15:guide id="2" orient="horz" pos="2381">
          <p15:clr>
            <a:srgbClr val="F26B43"/>
          </p15:clr>
        </p15:guide>
        <p15:guide id="3" orient="horz" pos="4431">
          <p15:clr>
            <a:srgbClr val="F26B43"/>
          </p15:clr>
        </p15:guide>
        <p15:guide id="4" pos="457">
          <p15:clr>
            <a:srgbClr val="F26B43"/>
          </p15:clr>
        </p15:guide>
        <p15:guide id="5" pos="10829">
          <p15:clr>
            <a:srgbClr val="F26B43"/>
          </p15:clr>
        </p15:guide>
        <p15:guide id="6" orient="horz" pos="1180">
          <p15:clr>
            <a:srgbClr val="F26B43"/>
          </p15:clr>
        </p15:guide>
        <p15:guide id="7" orient="horz" pos="220">
          <p15:clr>
            <a:srgbClr val="F26B43"/>
          </p15:clr>
        </p15:guide>
        <p15:guide id="8" orient="horz" pos="4497">
          <p15:clr>
            <a:srgbClr val="F26B43"/>
          </p15:clr>
        </p15:guide>
        <p15:guide id="10" pos="7309">
          <p15:clr>
            <a:srgbClr val="F26B43"/>
          </p15:clr>
        </p15:guide>
        <p15:guide id="11" orient="horz" pos="260">
          <p15:clr>
            <a:srgbClr val="F26B43"/>
          </p15:clr>
        </p15:guide>
        <p15:guide id="12" pos="2028">
          <p15:clr>
            <a:srgbClr val="F26B43"/>
          </p15:clr>
        </p15:guide>
        <p15:guide id="13" pos="2217">
          <p15:clr>
            <a:srgbClr val="F26B43"/>
          </p15:clr>
        </p15:guide>
        <p15:guide id="14" pos="3789">
          <p15:clr>
            <a:srgbClr val="F26B43"/>
          </p15:clr>
        </p15:guide>
        <p15:guide id="15" pos="3977">
          <p15:clr>
            <a:srgbClr val="F26B43"/>
          </p15:clr>
        </p15:guide>
        <p15:guide id="16" pos="9068">
          <p15:clr>
            <a:srgbClr val="F26B43"/>
          </p15:clr>
        </p15:guide>
        <p15:guide id="17" pos="5541">
          <p15:clr>
            <a:srgbClr val="F26B43"/>
          </p15:clr>
        </p15:guide>
        <p15:guide id="18" pos="5739">
          <p15:clr>
            <a:srgbClr val="F26B43"/>
          </p15:clr>
        </p15:guide>
        <p15:guide id="19" pos="5645">
          <p15:clr>
            <a:srgbClr val="F26B43"/>
          </p15:clr>
        </p15:guide>
        <p15:guide id="20" pos="9260">
          <p15:clr>
            <a:srgbClr val="F26B43"/>
          </p15:clr>
        </p15:guide>
        <p15:guide id="21" orient="horz" pos="1157">
          <p15:clr>
            <a:srgbClr val="F26B43"/>
          </p15:clr>
        </p15:guide>
        <p15:guide id="22" orient="horz" pos="70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2121" y="1594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94203" y="317508"/>
            <a:ext cx="1120179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94203" y="1665289"/>
            <a:ext cx="1120179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1388022" y="6476368"/>
            <a:ext cx="307973" cy="983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442"/>
              </a:spcBef>
              <a:buSzPct val="100000"/>
              <a:buFont typeface="Arial"/>
              <a:buNone/>
            </a:pPr>
            <a:fld id="{C58DF478-B544-4ED8-9ED4-6A2648E2D233}" type="slidenum">
              <a:rPr lang="en-US" sz="479" noProof="0">
                <a:solidFill>
                  <a:schemeClr val="tx1"/>
                </a:solidFill>
              </a:rPr>
              <a:pPr marL="0" indent="0" algn="r">
                <a:spcBef>
                  <a:spcPts val="442"/>
                </a:spcBef>
                <a:buSzPct val="100000"/>
                <a:buFont typeface="Arial"/>
                <a:buNone/>
              </a:pPr>
              <a:t>‹#›</a:t>
            </a:fld>
            <a:endParaRPr lang="en-US" sz="479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524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094" r:id="rId2"/>
    <p:sldLayoutId id="2147484095" r:id="rId3"/>
    <p:sldLayoutId id="2147484096" r:id="rId4"/>
    <p:sldLayoutId id="2147484097" r:id="rId5"/>
    <p:sldLayoutId id="2147484098" r:id="rId6"/>
    <p:sldLayoutId id="2147484099" r:id="rId7"/>
    <p:sldLayoutId id="2147484100" r:id="rId8"/>
    <p:sldLayoutId id="2147484101" r:id="rId9"/>
    <p:sldLayoutId id="2147484102" r:id="rId10"/>
    <p:sldLayoutId id="2147484103" r:id="rId11"/>
  </p:sldLayoutIdLst>
  <p:transition>
    <p:fade/>
  </p:transition>
  <p:hf hdr="0" ftr="0" dt="0"/>
  <p:txStyles>
    <p:titleStyle>
      <a:lvl1pPr algn="l" defTabSz="673928" rtl="0" eaLnBrk="1" latinLnBrk="0" hangingPunct="1">
        <a:spcBef>
          <a:spcPct val="0"/>
        </a:spcBef>
        <a:buNone/>
        <a:defRPr sz="136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73928" rtl="0" eaLnBrk="1" latinLnBrk="0" hangingPunct="1">
        <a:spcBef>
          <a:spcPts val="0"/>
        </a:spcBef>
        <a:spcAft>
          <a:spcPts val="737"/>
        </a:spcAft>
        <a:buSzPct val="100000"/>
        <a:buFont typeface="Arial" panose="020B0604020202020204" pitchFamily="34" charset="0"/>
        <a:buChar char="​"/>
        <a:defRPr sz="68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73928" rtl="0" eaLnBrk="1" latinLnBrk="0" hangingPunct="1">
        <a:spcBef>
          <a:spcPts val="0"/>
        </a:spcBef>
        <a:spcAft>
          <a:spcPts val="737"/>
        </a:spcAft>
        <a:buClrTx/>
        <a:buSzPct val="100000"/>
        <a:buFont typeface="Arial" panose="020B0604020202020204" pitchFamily="34" charset="0"/>
        <a:buChar char="​"/>
        <a:defRPr lang="en-US" sz="680" b="1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30009" indent="-130009" algn="l" defTabSz="673928" rtl="0" eaLnBrk="1" latinLnBrk="0" hangingPunct="1">
        <a:spcBef>
          <a:spcPts val="0"/>
        </a:spcBef>
        <a:spcAft>
          <a:spcPts val="737"/>
        </a:spcAft>
        <a:buClrTx/>
        <a:buSzPct val="100000"/>
        <a:buFont typeface="Arial" panose="020B0604020202020204" pitchFamily="34" charset="0"/>
        <a:buChar char="•"/>
        <a:defRPr lang="en-US" sz="68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262673" indent="-130009" algn="l" defTabSz="673928" rtl="0" eaLnBrk="1" latinLnBrk="0" hangingPunct="1">
        <a:spcBef>
          <a:spcPts val="0"/>
        </a:spcBef>
        <a:spcAft>
          <a:spcPts val="737"/>
        </a:spcAft>
        <a:buClrTx/>
        <a:buSzPct val="100000"/>
        <a:buFont typeface="Verdana" panose="020B0604030504040204" pitchFamily="34" charset="0"/>
        <a:buChar char="−"/>
        <a:defRPr lang="en-US" sz="68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392682" indent="-130009" algn="l" defTabSz="588517" rtl="0" eaLnBrk="1" latinLnBrk="0" hangingPunct="1">
        <a:spcBef>
          <a:spcPts val="0"/>
        </a:spcBef>
        <a:spcAft>
          <a:spcPts val="737"/>
        </a:spcAft>
        <a:buClrTx/>
        <a:buSzPct val="100000"/>
        <a:buFont typeface="Verdana" panose="020B0604030504040204" pitchFamily="34" charset="0"/>
        <a:buChar char="−"/>
        <a:tabLst/>
        <a:defRPr lang="en-US" sz="68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392682" indent="-130009" algn="l" defTabSz="673928" rtl="0" eaLnBrk="1" latinLnBrk="0" hangingPunct="1">
        <a:spcBef>
          <a:spcPts val="0"/>
        </a:spcBef>
        <a:spcAft>
          <a:spcPts val="737"/>
        </a:spcAft>
        <a:buFont typeface="Verdana" panose="020B0604030504040204" pitchFamily="34" charset="0"/>
        <a:buChar char="−"/>
        <a:defRPr sz="68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2682" indent="-130009" algn="l" defTabSz="673928" rtl="0" eaLnBrk="1" latinLnBrk="0" hangingPunct="1">
        <a:spcBef>
          <a:spcPts val="0"/>
        </a:spcBef>
        <a:spcAft>
          <a:spcPts val="737"/>
        </a:spcAft>
        <a:buFont typeface="Verdana" panose="020B0604030504040204" pitchFamily="34" charset="0"/>
        <a:buChar char="−"/>
        <a:defRPr sz="680" kern="1200">
          <a:solidFill>
            <a:schemeClr val="tx1"/>
          </a:solidFill>
          <a:latin typeface="+mn-lt"/>
          <a:ea typeface="+mn-ea"/>
          <a:cs typeface="+mn-cs"/>
        </a:defRPr>
      </a:lvl7pPr>
      <a:lvl8pPr marL="392682" indent="-130009" algn="l" defTabSz="673928" rtl="0" eaLnBrk="1" latinLnBrk="0" hangingPunct="1">
        <a:spcBef>
          <a:spcPts val="0"/>
        </a:spcBef>
        <a:spcAft>
          <a:spcPts val="737"/>
        </a:spcAft>
        <a:buFont typeface="Verdana" panose="020B0604030504040204" pitchFamily="34" charset="0"/>
        <a:buChar char="−"/>
        <a:defRPr sz="68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2682" indent="-130009" algn="l" defTabSz="673928" rtl="0" eaLnBrk="1" latinLnBrk="0" hangingPunct="1">
        <a:spcBef>
          <a:spcPts val="0"/>
        </a:spcBef>
        <a:spcAft>
          <a:spcPts val="737"/>
        </a:spcAft>
        <a:buFont typeface="Verdana" panose="020B0604030504040204" pitchFamily="34" charset="0"/>
        <a:buChar char="−"/>
        <a:defRPr sz="68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1pPr>
      <a:lvl2pPr marL="336965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2pPr>
      <a:lvl3pPr marL="673928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3pPr>
      <a:lvl4pPr marL="1010892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4pPr>
      <a:lvl5pPr marL="1347855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5pPr>
      <a:lvl6pPr marL="1684820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6pPr>
      <a:lvl7pPr marL="2021783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7pPr>
      <a:lvl8pPr marL="2358747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8pPr>
      <a:lvl9pPr marL="2695711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99">
          <p15:clr>
            <a:srgbClr val="F26B43"/>
          </p15:clr>
        </p15:guide>
        <p15:guide id="2" orient="horz" pos="2381">
          <p15:clr>
            <a:srgbClr val="F26B43"/>
          </p15:clr>
        </p15:guide>
        <p15:guide id="3" orient="horz" pos="4431">
          <p15:clr>
            <a:srgbClr val="F26B43"/>
          </p15:clr>
        </p15:guide>
        <p15:guide id="4" pos="457">
          <p15:clr>
            <a:srgbClr val="F26B43"/>
          </p15:clr>
        </p15:guide>
        <p15:guide id="5" pos="10829">
          <p15:clr>
            <a:srgbClr val="F26B43"/>
          </p15:clr>
        </p15:guide>
        <p15:guide id="6" orient="horz" pos="1180">
          <p15:clr>
            <a:srgbClr val="F26B43"/>
          </p15:clr>
        </p15:guide>
        <p15:guide id="7" orient="horz" pos="220">
          <p15:clr>
            <a:srgbClr val="F26B43"/>
          </p15:clr>
        </p15:guide>
        <p15:guide id="8" orient="horz" pos="4497">
          <p15:clr>
            <a:srgbClr val="F26B43"/>
          </p15:clr>
        </p15:guide>
        <p15:guide id="10" pos="7309">
          <p15:clr>
            <a:srgbClr val="F26B43"/>
          </p15:clr>
        </p15:guide>
        <p15:guide id="11" orient="horz" pos="260">
          <p15:clr>
            <a:srgbClr val="F26B43"/>
          </p15:clr>
        </p15:guide>
        <p15:guide id="12" pos="2028">
          <p15:clr>
            <a:srgbClr val="F26B43"/>
          </p15:clr>
        </p15:guide>
        <p15:guide id="13" pos="2217">
          <p15:clr>
            <a:srgbClr val="F26B43"/>
          </p15:clr>
        </p15:guide>
        <p15:guide id="14" pos="3789">
          <p15:clr>
            <a:srgbClr val="F26B43"/>
          </p15:clr>
        </p15:guide>
        <p15:guide id="15" pos="3977">
          <p15:clr>
            <a:srgbClr val="F26B43"/>
          </p15:clr>
        </p15:guide>
        <p15:guide id="16" pos="9068">
          <p15:clr>
            <a:srgbClr val="F26B43"/>
          </p15:clr>
        </p15:guide>
        <p15:guide id="17" pos="5541">
          <p15:clr>
            <a:srgbClr val="F26B43"/>
          </p15:clr>
        </p15:guide>
        <p15:guide id="18" pos="5739">
          <p15:clr>
            <a:srgbClr val="F26B43"/>
          </p15:clr>
        </p15:guide>
        <p15:guide id="19" pos="5645">
          <p15:clr>
            <a:srgbClr val="F26B43"/>
          </p15:clr>
        </p15:guide>
        <p15:guide id="20" pos="9260">
          <p15:clr>
            <a:srgbClr val="F26B43"/>
          </p15:clr>
        </p15:guide>
        <p15:guide id="21" orient="horz" pos="1157">
          <p15:clr>
            <a:srgbClr val="F26B43"/>
          </p15:clr>
        </p15:guide>
        <p15:guide id="22" orient="horz" pos="7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90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1382377" y="6477001"/>
            <a:ext cx="307974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35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35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279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5" r:id="rId1"/>
  </p:sldLayoutIdLst>
  <p:transition>
    <p:fade/>
  </p:transition>
  <p:hf hdr="0" ftr="0" dt="0"/>
  <p:txStyles>
    <p:titleStyle>
      <a:lvl1pPr algn="l" defTabSz="914417" rtl="0" eaLnBrk="1" latinLnBrk="0" hangingPunct="1">
        <a:spcBef>
          <a:spcPct val="0"/>
        </a:spcBef>
        <a:buNone/>
        <a:defRPr sz="18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17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907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17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907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3" indent="-176403" algn="l" defTabSz="914417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7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7" indent="-176403" algn="l" defTabSz="914417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907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10" indent="-176403" algn="l" defTabSz="79852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907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10" indent="-176403" algn="l" defTabSz="91441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10" indent="-176403" algn="l" defTabSz="91441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10" indent="-176403" algn="l" defTabSz="91441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10" indent="-176403" algn="l" defTabSz="91441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7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6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5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4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2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1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69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4443">
          <p15:clr>
            <a:srgbClr val="F26B43"/>
          </p15:clr>
        </p15:guide>
        <p15:guide id="4" pos="277">
          <p15:clr>
            <a:srgbClr val="F26B43"/>
          </p15:clr>
        </p15:guide>
        <p15:guide id="5" pos="6464">
          <p15:clr>
            <a:srgbClr val="F26B43"/>
          </p15:clr>
        </p15:guide>
        <p15:guide id="11" orient="horz" pos="219">
          <p15:clr>
            <a:srgbClr val="F26B43"/>
          </p15:clr>
        </p15:guide>
        <p15:guide id="21" orient="horz" pos="11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90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1382377" y="6477001"/>
            <a:ext cx="307974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35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35" noProof="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7555" y="123543"/>
            <a:ext cx="2121261" cy="387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09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4" r:id="rId1"/>
    <p:sldLayoutId id="2147484135" r:id="rId2"/>
  </p:sldLayoutIdLst>
  <p:transition>
    <p:fade/>
  </p:transition>
  <p:hf hdr="0" dt="0"/>
  <p:txStyles>
    <p:titleStyle>
      <a:lvl1pPr algn="l" defTabSz="914417" rtl="0" eaLnBrk="1" latinLnBrk="0" hangingPunct="1">
        <a:spcBef>
          <a:spcPct val="0"/>
        </a:spcBef>
        <a:buNone/>
        <a:defRPr sz="18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17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907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17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907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3" indent="-176403" algn="l" defTabSz="914417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7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7" indent="-176403" algn="l" defTabSz="914417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907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10" indent="-176403" algn="l" defTabSz="79852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907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10" indent="-176403" algn="l" defTabSz="91441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10" indent="-176403" algn="l" defTabSz="91441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10" indent="-176403" algn="l" defTabSz="91441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10" indent="-176403" algn="l" defTabSz="91441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7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6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5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4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2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1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69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4443">
          <p15:clr>
            <a:srgbClr val="F26B43"/>
          </p15:clr>
        </p15:guide>
        <p15:guide id="4" pos="277">
          <p15:clr>
            <a:srgbClr val="F26B43"/>
          </p15:clr>
        </p15:guide>
        <p15:guide id="5" pos="6464">
          <p15:clr>
            <a:srgbClr val="F26B43"/>
          </p15:clr>
        </p15:guide>
        <p15:guide id="11" orient="horz" pos="219">
          <p15:clr>
            <a:srgbClr val="F26B43"/>
          </p15:clr>
        </p15:guide>
        <p15:guide id="21" orient="horz" pos="11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9.JPG"/><Relationship Id="rId4" Type="http://schemas.openxmlformats.org/officeDocument/2006/relationships/image" Target="../media/image8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A00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0823" y="2111253"/>
            <a:ext cx="7458891" cy="372944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282191" y="4904909"/>
            <a:ext cx="7979342" cy="14619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white"/>
              </a:buClr>
              <a:buSzPct val="100000"/>
              <a:buFontTx/>
              <a:buNone/>
              <a:tabLst/>
              <a:defRPr/>
            </a:pP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ualiz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white"/>
              </a:buClr>
              <a:buSzPct val="100000"/>
              <a:buFontTx/>
              <a:buNone/>
              <a:tabLst/>
              <a:defRPr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 No 1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white"/>
              </a:buClr>
              <a:buSzPct val="100000"/>
              <a:buFontTx/>
              <a:buNone/>
              <a:tabLst/>
              <a:defRPr/>
            </a:pPr>
            <a:endParaRPr lang="en-US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white"/>
              </a:buClr>
              <a:buSzPct val="100000"/>
              <a:buFontTx/>
              <a:buNone/>
              <a:tabLst/>
              <a:defRPr/>
            </a:pPr>
            <a:endParaRPr lang="en-US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434175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4194" y="202120"/>
            <a:ext cx="8363325" cy="431514"/>
          </a:xfrm>
        </p:spPr>
        <p:txBody>
          <a:bodyPr/>
          <a:lstStyle/>
          <a:p>
            <a:pPr marL="12700" marR="12700" defTabSz="914400">
              <a:spcBef>
                <a:spcPts val="0"/>
              </a:spcBef>
              <a:tabLst>
                <a:tab pos="952500" algn="l"/>
                <a:tab pos="1536700" algn="l"/>
              </a:tabLst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Meet the Team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>
          <a:xfrm flipV="1">
            <a:off x="336681" y="672475"/>
            <a:ext cx="3808690" cy="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reeform 97"/>
          <p:cNvSpPr>
            <a:spLocks/>
          </p:cNvSpPr>
          <p:nvPr/>
        </p:nvSpPr>
        <p:spPr bwMode="auto">
          <a:xfrm rot="10800000">
            <a:off x="283634" y="6620512"/>
            <a:ext cx="833967" cy="212127"/>
          </a:xfrm>
          <a:custGeom>
            <a:avLst/>
            <a:gdLst/>
            <a:ahLst/>
            <a:cxnLst>
              <a:cxn ang="0">
                <a:pos x="82" y="9"/>
              </a:cxn>
              <a:cxn ang="0">
                <a:pos x="127" y="27"/>
              </a:cxn>
              <a:cxn ang="0">
                <a:pos x="151" y="50"/>
              </a:cxn>
              <a:cxn ang="0">
                <a:pos x="0" y="50"/>
              </a:cxn>
              <a:cxn ang="0">
                <a:pos x="35" y="18"/>
              </a:cxn>
              <a:cxn ang="0">
                <a:pos x="82" y="9"/>
              </a:cxn>
            </a:cxnLst>
            <a:rect l="0" t="0" r="r" b="b"/>
            <a:pathLst>
              <a:path w="151" h="50">
                <a:moveTo>
                  <a:pt x="82" y="9"/>
                </a:moveTo>
                <a:cubicBezTo>
                  <a:pt x="98" y="4"/>
                  <a:pt x="113" y="9"/>
                  <a:pt x="127" y="27"/>
                </a:cubicBezTo>
                <a:cubicBezTo>
                  <a:pt x="139" y="26"/>
                  <a:pt x="147" y="33"/>
                  <a:pt x="151" y="50"/>
                </a:cubicBezTo>
                <a:cubicBezTo>
                  <a:pt x="0" y="50"/>
                  <a:pt x="0" y="50"/>
                  <a:pt x="0" y="50"/>
                </a:cubicBezTo>
                <a:cubicBezTo>
                  <a:pt x="3" y="33"/>
                  <a:pt x="15" y="22"/>
                  <a:pt x="35" y="18"/>
                </a:cubicBezTo>
                <a:cubicBezTo>
                  <a:pt x="49" y="3"/>
                  <a:pt x="65" y="0"/>
                  <a:pt x="82" y="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3754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67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84D4896-DD98-61E2-C054-72C07E9CE3DD}"/>
              </a:ext>
            </a:extLst>
          </p:cNvPr>
          <p:cNvSpPr txBox="1"/>
          <p:nvPr/>
        </p:nvSpPr>
        <p:spPr>
          <a:xfrm>
            <a:off x="3103376" y="3070842"/>
            <a:ext cx="1678575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400" b="1" dirty="0"/>
              <a:t> </a:t>
            </a:r>
            <a:r>
              <a:rPr lang="en-IN" sz="1400" dirty="0" err="1">
                <a:latin typeface="Arial" panose="020B0604020202020204" pitchFamily="34" charset="0"/>
                <a:cs typeface="Arial" panose="020B0604020202020204" pitchFamily="34" charset="0"/>
              </a:rPr>
              <a:t>Ahmedraza</a:t>
            </a: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 Sharif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23PGAI0120</a:t>
            </a:r>
          </a:p>
          <a:p>
            <a:pPr>
              <a:spcBef>
                <a:spcPts val="600"/>
              </a:spcBef>
              <a:buSzPct val="100000"/>
            </a:pPr>
            <a:endParaRPr lang="en-US" sz="1400" b="1" dirty="0">
              <a:solidFill>
                <a:srgbClr val="31313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16FD764-1C24-D348-C9C9-C6F3732716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7295" y="1236587"/>
            <a:ext cx="3203389" cy="180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7228079-C039-29B6-6931-8CC0E04BB9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13019" y="1206083"/>
            <a:ext cx="3203390" cy="180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53D7551-FC27-8CD6-B164-3D161E56D7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44693" y="3831070"/>
            <a:ext cx="3295991" cy="185203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EC7C34C-DF00-AEBF-1CF0-DF5C7C4169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13019" y="3857086"/>
            <a:ext cx="3203390" cy="18000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1FB3B15-7F0B-E3FE-6E4B-4CF47E33BF95}"/>
              </a:ext>
            </a:extLst>
          </p:cNvPr>
          <p:cNvSpPr txBox="1"/>
          <p:nvPr/>
        </p:nvSpPr>
        <p:spPr>
          <a:xfrm>
            <a:off x="7232943" y="3077020"/>
            <a:ext cx="1763542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kash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Deshwani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Bef>
                <a:spcPts val="600"/>
              </a:spcBef>
              <a:buSzPct val="100000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23PGAI0035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1CD6D0D-D9B0-20E4-7193-3A134FD93AEE}"/>
              </a:ext>
            </a:extLst>
          </p:cNvPr>
          <p:cNvSpPr txBox="1"/>
          <p:nvPr/>
        </p:nvSpPr>
        <p:spPr>
          <a:xfrm>
            <a:off x="3103376" y="5740065"/>
            <a:ext cx="1678575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400" b="1" dirty="0"/>
              <a:t> </a:t>
            </a:r>
            <a:r>
              <a:rPr lang="en-IN" sz="1400" dirty="0" err="1">
                <a:latin typeface="Arial" panose="020B0604020202020204" pitchFamily="34" charset="0"/>
                <a:cs typeface="Arial" panose="020B0604020202020204" pitchFamily="34" charset="0"/>
              </a:rPr>
              <a:t>Harshada</a:t>
            </a: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 Jadhav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23PGAI0101</a:t>
            </a:r>
          </a:p>
          <a:p>
            <a:pPr>
              <a:spcBef>
                <a:spcPts val="600"/>
              </a:spcBef>
              <a:buSzPct val="100000"/>
            </a:pPr>
            <a:endParaRPr lang="en-US" sz="1400" b="1" dirty="0">
              <a:solidFill>
                <a:srgbClr val="31313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C2E5C5A-CAAB-ED69-B37C-022BD93AD0F4}"/>
              </a:ext>
            </a:extLst>
          </p:cNvPr>
          <p:cNvSpPr txBox="1"/>
          <p:nvPr/>
        </p:nvSpPr>
        <p:spPr>
          <a:xfrm>
            <a:off x="7232943" y="5746243"/>
            <a:ext cx="1763542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Rohan Mehta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23PGAI0001</a:t>
            </a:r>
          </a:p>
        </p:txBody>
      </p:sp>
    </p:spTree>
    <p:extLst>
      <p:ext uri="{BB962C8B-B14F-4D97-AF65-F5344CB8AC3E}">
        <p14:creationId xmlns:p14="http://schemas.microsoft.com/office/powerpoint/2010/main" val="252660200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4194" y="202120"/>
            <a:ext cx="8363325" cy="431514"/>
          </a:xfrm>
        </p:spPr>
        <p:txBody>
          <a:bodyPr/>
          <a:lstStyle/>
          <a:p>
            <a:pPr marL="12700" marR="12700" defTabSz="914400">
              <a:spcBef>
                <a:spcPts val="0"/>
              </a:spcBef>
              <a:tabLst>
                <a:tab pos="952500" algn="l"/>
                <a:tab pos="1536700" algn="l"/>
              </a:tabLst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Data Description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>
          <a:xfrm flipV="1">
            <a:off x="336681" y="672475"/>
            <a:ext cx="3808690" cy="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reeform 97"/>
          <p:cNvSpPr>
            <a:spLocks/>
          </p:cNvSpPr>
          <p:nvPr/>
        </p:nvSpPr>
        <p:spPr bwMode="auto">
          <a:xfrm rot="10800000">
            <a:off x="283634" y="6620512"/>
            <a:ext cx="833967" cy="212127"/>
          </a:xfrm>
          <a:custGeom>
            <a:avLst/>
            <a:gdLst/>
            <a:ahLst/>
            <a:cxnLst>
              <a:cxn ang="0">
                <a:pos x="82" y="9"/>
              </a:cxn>
              <a:cxn ang="0">
                <a:pos x="127" y="27"/>
              </a:cxn>
              <a:cxn ang="0">
                <a:pos x="151" y="50"/>
              </a:cxn>
              <a:cxn ang="0">
                <a:pos x="0" y="50"/>
              </a:cxn>
              <a:cxn ang="0">
                <a:pos x="35" y="18"/>
              </a:cxn>
              <a:cxn ang="0">
                <a:pos x="82" y="9"/>
              </a:cxn>
            </a:cxnLst>
            <a:rect l="0" t="0" r="r" b="b"/>
            <a:pathLst>
              <a:path w="151" h="50">
                <a:moveTo>
                  <a:pt x="82" y="9"/>
                </a:moveTo>
                <a:cubicBezTo>
                  <a:pt x="98" y="4"/>
                  <a:pt x="113" y="9"/>
                  <a:pt x="127" y="27"/>
                </a:cubicBezTo>
                <a:cubicBezTo>
                  <a:pt x="139" y="26"/>
                  <a:pt x="147" y="33"/>
                  <a:pt x="151" y="50"/>
                </a:cubicBezTo>
                <a:cubicBezTo>
                  <a:pt x="0" y="50"/>
                  <a:pt x="0" y="50"/>
                  <a:pt x="0" y="50"/>
                </a:cubicBezTo>
                <a:cubicBezTo>
                  <a:pt x="3" y="33"/>
                  <a:pt x="15" y="22"/>
                  <a:pt x="35" y="18"/>
                </a:cubicBezTo>
                <a:cubicBezTo>
                  <a:pt x="49" y="3"/>
                  <a:pt x="65" y="0"/>
                  <a:pt x="82" y="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3754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67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84D4896-DD98-61E2-C054-72C07E9CE3DD}"/>
              </a:ext>
            </a:extLst>
          </p:cNvPr>
          <p:cNvSpPr txBox="1"/>
          <p:nvPr/>
        </p:nvSpPr>
        <p:spPr>
          <a:xfrm>
            <a:off x="215556" y="2365796"/>
            <a:ext cx="11906422" cy="30623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We have shortlisted 8 main features to create our data visualization.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Date and Time – </a:t>
            </a:r>
            <a:r>
              <a:rPr lang="en-IN" sz="1400" b="0" i="0" u="none" strike="noStrike" dirty="0">
                <a:solidFill>
                  <a:srgbClr val="2C2C2C"/>
                </a:solidFill>
                <a:effectLst/>
                <a:latin typeface="Roboto" panose="02000000000000000000" pitchFamily="2" charset="0"/>
              </a:rPr>
              <a:t>Date and time when the incident occurred.</a:t>
            </a:r>
            <a:endParaRPr lang="en-US" sz="1400" b="1" noProof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ry Type – </a:t>
            </a:r>
            <a:r>
              <a:rPr lang="en-US" sz="1400" dirty="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ription type of crime</a:t>
            </a:r>
            <a:endParaRPr lang="en-US" sz="1400" b="1" dirty="0">
              <a:solidFill>
                <a:srgbClr val="31313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 description - </a:t>
            </a:r>
            <a:r>
              <a:rPr lang="en-IN" sz="1400" b="0" i="0" u="none" strike="noStrike" dirty="0">
                <a:solidFill>
                  <a:srgbClr val="2C2C2C"/>
                </a:solidFill>
                <a:effectLst/>
                <a:latin typeface="Roboto" panose="02000000000000000000" pitchFamily="2" charset="0"/>
              </a:rPr>
              <a:t>Description of the location where the incident occurred.</a:t>
            </a:r>
            <a:endParaRPr lang="en-US" sz="1400" b="1" dirty="0">
              <a:solidFill>
                <a:srgbClr val="31313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rest - </a:t>
            </a:r>
            <a:r>
              <a:rPr lang="en-IN" sz="1400" b="0" i="0" u="none" strike="noStrike" dirty="0">
                <a:solidFill>
                  <a:srgbClr val="2C2C2C"/>
                </a:solidFill>
                <a:effectLst/>
                <a:latin typeface="Roboto" panose="02000000000000000000" pitchFamily="2" charset="0"/>
              </a:rPr>
              <a:t>Indicates whether an arrest was made.</a:t>
            </a:r>
            <a:endParaRPr lang="en-US" sz="1400" b="1" dirty="0">
              <a:solidFill>
                <a:srgbClr val="31313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ar of crime - </a:t>
            </a:r>
            <a:r>
              <a:rPr lang="en-IN" sz="1400" b="0" i="0" u="none" strike="noStrike" dirty="0">
                <a:solidFill>
                  <a:srgbClr val="2C2C2C"/>
                </a:solidFill>
                <a:effectLst/>
                <a:latin typeface="Roboto" panose="02000000000000000000" pitchFamily="2" charset="0"/>
              </a:rPr>
              <a:t>Year the incident occurred.</a:t>
            </a:r>
            <a:endParaRPr lang="en-US" sz="1400" b="1" dirty="0">
              <a:solidFill>
                <a:srgbClr val="31313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titude - </a:t>
            </a:r>
            <a:r>
              <a:rPr lang="en-IN" sz="1400" b="0" i="0" u="none" strike="noStrike" dirty="0">
                <a:solidFill>
                  <a:srgbClr val="2C2C2C"/>
                </a:solidFill>
                <a:effectLst/>
                <a:latin typeface="Roboto" panose="02000000000000000000" pitchFamily="2" charset="0"/>
              </a:rPr>
              <a:t>The latitude of the location where the incident occurred. 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ngitude - </a:t>
            </a:r>
            <a:r>
              <a:rPr lang="en-IN" sz="1400" b="0" i="0" u="none" strike="noStrike" dirty="0">
                <a:solidFill>
                  <a:srgbClr val="2C2C2C"/>
                </a:solidFill>
                <a:effectLst/>
                <a:latin typeface="Roboto" panose="02000000000000000000" pitchFamily="2" charset="0"/>
              </a:rPr>
              <a:t>The longitude of the location where the incident occurred.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 - </a:t>
            </a:r>
            <a:r>
              <a:rPr lang="en-IN" sz="1400" b="0" i="0" u="none" strike="noStrike" dirty="0">
                <a:solidFill>
                  <a:srgbClr val="2C2C2C"/>
                </a:solidFill>
                <a:effectLst/>
                <a:latin typeface="Roboto" panose="02000000000000000000" pitchFamily="2" charset="0"/>
              </a:rPr>
              <a:t>The location where the incident occurred in a format that allows for creation of maps and other geographic operations on this data portal.</a:t>
            </a:r>
            <a:endParaRPr lang="en-US" sz="1400" b="1" dirty="0">
              <a:solidFill>
                <a:srgbClr val="31313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33E11D5-1BFD-153F-64F2-5889C0BA5EC5}"/>
              </a:ext>
            </a:extLst>
          </p:cNvPr>
          <p:cNvSpPr txBox="1"/>
          <p:nvPr/>
        </p:nvSpPr>
        <p:spPr>
          <a:xfrm>
            <a:off x="215556" y="1088249"/>
            <a:ext cx="11541898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is dataset represents the reported incidents of crime that occurred in the city of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Chicago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for the time period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2000-present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e Data is extracted from the Chicago Police Department's CLEAR (Citizen Law Enforcement Analysis and Reporting). We have a total of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1048575 crimes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9239127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1147" y="227520"/>
            <a:ext cx="8363325" cy="431514"/>
          </a:xfrm>
        </p:spPr>
        <p:txBody>
          <a:bodyPr/>
          <a:lstStyle/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Demo</a:t>
            </a:r>
            <a:endParaRPr lang="en-IN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>
          <a:xfrm flipV="1">
            <a:off x="283634" y="697875"/>
            <a:ext cx="3808690" cy="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reeform 97"/>
          <p:cNvSpPr>
            <a:spLocks/>
          </p:cNvSpPr>
          <p:nvPr/>
        </p:nvSpPr>
        <p:spPr bwMode="auto">
          <a:xfrm rot="10800000">
            <a:off x="283634" y="6620512"/>
            <a:ext cx="833967" cy="212127"/>
          </a:xfrm>
          <a:custGeom>
            <a:avLst/>
            <a:gdLst/>
            <a:ahLst/>
            <a:cxnLst>
              <a:cxn ang="0">
                <a:pos x="82" y="9"/>
              </a:cxn>
              <a:cxn ang="0">
                <a:pos x="127" y="27"/>
              </a:cxn>
              <a:cxn ang="0">
                <a:pos x="151" y="50"/>
              </a:cxn>
              <a:cxn ang="0">
                <a:pos x="0" y="50"/>
              </a:cxn>
              <a:cxn ang="0">
                <a:pos x="35" y="18"/>
              </a:cxn>
              <a:cxn ang="0">
                <a:pos x="82" y="9"/>
              </a:cxn>
            </a:cxnLst>
            <a:rect l="0" t="0" r="r" b="b"/>
            <a:pathLst>
              <a:path w="151" h="50">
                <a:moveTo>
                  <a:pt x="82" y="9"/>
                </a:moveTo>
                <a:cubicBezTo>
                  <a:pt x="98" y="4"/>
                  <a:pt x="113" y="9"/>
                  <a:pt x="127" y="27"/>
                </a:cubicBezTo>
                <a:cubicBezTo>
                  <a:pt x="139" y="26"/>
                  <a:pt x="147" y="33"/>
                  <a:pt x="151" y="50"/>
                </a:cubicBezTo>
                <a:cubicBezTo>
                  <a:pt x="0" y="50"/>
                  <a:pt x="0" y="50"/>
                  <a:pt x="0" y="50"/>
                </a:cubicBezTo>
                <a:cubicBezTo>
                  <a:pt x="3" y="33"/>
                  <a:pt x="15" y="22"/>
                  <a:pt x="35" y="18"/>
                </a:cubicBezTo>
                <a:cubicBezTo>
                  <a:pt x="49" y="3"/>
                  <a:pt x="65" y="0"/>
                  <a:pt x="82" y="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3754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67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3" name="Group_15_Voice_Over">
            <a:hlinkClick r:id="" action="ppaction://media"/>
            <a:extLst>
              <a:ext uri="{FF2B5EF4-FFF2-40B4-BE49-F238E27FC236}">
                <a16:creationId xmlns:a16="http://schemas.microsoft.com/office/drawing/2014/main" id="{65F878F8-0819-DD89-70EB-469AEA3F458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410346" y="869507"/>
            <a:ext cx="9371308" cy="5857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86098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792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3634" y="202120"/>
            <a:ext cx="8363325" cy="431514"/>
          </a:xfrm>
        </p:spPr>
        <p:txBody>
          <a:bodyPr/>
          <a:lstStyle/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Key Takeaways</a:t>
            </a:r>
            <a:endParaRPr lang="en-IN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>
          <a:xfrm flipV="1">
            <a:off x="276121" y="672475"/>
            <a:ext cx="3808690" cy="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1041017" y="1211505"/>
            <a:ext cx="9463600" cy="4160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2" indent="-285750" algn="just" defTabSz="829178">
              <a:lnSpc>
                <a:spcPct val="150000"/>
              </a:lnSpc>
              <a:spcBef>
                <a:spcPts val="544"/>
              </a:spcBef>
              <a:spcAft>
                <a:spcPts val="544"/>
              </a:spcAft>
              <a:buFont typeface="Arial" panose="020B0604020202020204" pitchFamily="34" charset="0"/>
              <a:buChar char="•"/>
              <a:defRPr/>
            </a:pPr>
            <a:endParaRPr kumimoji="0" lang="en-US" sz="1600" b="1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2" name="Freeform 97"/>
          <p:cNvSpPr>
            <a:spLocks/>
          </p:cNvSpPr>
          <p:nvPr/>
        </p:nvSpPr>
        <p:spPr bwMode="auto">
          <a:xfrm rot="10800000">
            <a:off x="283634" y="6620512"/>
            <a:ext cx="833967" cy="212127"/>
          </a:xfrm>
          <a:custGeom>
            <a:avLst/>
            <a:gdLst/>
            <a:ahLst/>
            <a:cxnLst>
              <a:cxn ang="0">
                <a:pos x="82" y="9"/>
              </a:cxn>
              <a:cxn ang="0">
                <a:pos x="127" y="27"/>
              </a:cxn>
              <a:cxn ang="0">
                <a:pos x="151" y="50"/>
              </a:cxn>
              <a:cxn ang="0">
                <a:pos x="0" y="50"/>
              </a:cxn>
              <a:cxn ang="0">
                <a:pos x="35" y="18"/>
              </a:cxn>
              <a:cxn ang="0">
                <a:pos x="82" y="9"/>
              </a:cxn>
            </a:cxnLst>
            <a:rect l="0" t="0" r="r" b="b"/>
            <a:pathLst>
              <a:path w="151" h="50">
                <a:moveTo>
                  <a:pt x="82" y="9"/>
                </a:moveTo>
                <a:cubicBezTo>
                  <a:pt x="98" y="4"/>
                  <a:pt x="113" y="9"/>
                  <a:pt x="127" y="27"/>
                </a:cubicBezTo>
                <a:cubicBezTo>
                  <a:pt x="139" y="26"/>
                  <a:pt x="147" y="33"/>
                  <a:pt x="151" y="50"/>
                </a:cubicBezTo>
                <a:cubicBezTo>
                  <a:pt x="0" y="50"/>
                  <a:pt x="0" y="50"/>
                  <a:pt x="0" y="50"/>
                </a:cubicBezTo>
                <a:cubicBezTo>
                  <a:pt x="3" y="33"/>
                  <a:pt x="15" y="22"/>
                  <a:pt x="35" y="18"/>
                </a:cubicBezTo>
                <a:cubicBezTo>
                  <a:pt x="49" y="3"/>
                  <a:pt x="65" y="0"/>
                  <a:pt x="82" y="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3754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67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111C726-3B19-33E6-CB44-B33B1D77D28B}"/>
              </a:ext>
            </a:extLst>
          </p:cNvPr>
          <p:cNvSpPr txBox="1"/>
          <p:nvPr/>
        </p:nvSpPr>
        <p:spPr>
          <a:xfrm>
            <a:off x="276121" y="1250347"/>
            <a:ext cx="11906422" cy="19697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ost Visualization, we found these key insights.</a:t>
            </a:r>
            <a:endParaRPr lang="en-US" sz="1400" noProof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sz="1400" noProof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jority of the crimes occur towards the center of the city as seen in the density chart.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is a huge increase in reported crimes in 2015-2019, and the increase in number of arrests were not able to match this.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9.11% of the reports have not had arrests made.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top 5 crimes are: Theft, Battery, Criminal Damage, Assault and Deceptive Practice.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top 5 crime locations are: Street, Residence Apartment, Sidewalk and Parking Lot.</a:t>
            </a:r>
            <a:endParaRPr lang="en-IN" sz="1400" i="0" u="none" strike="noStrike" dirty="0">
              <a:solidFill>
                <a:srgbClr val="2C2C2C"/>
              </a:solidFill>
              <a:effectLst/>
              <a:latin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3694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A00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3269" y="0"/>
            <a:ext cx="2120400" cy="1060200"/>
          </a:xfrm>
          <a:prstGeom prst="rect">
            <a:avLst/>
          </a:prstGeom>
        </p:spPr>
      </p:pic>
      <p:pic>
        <p:nvPicPr>
          <p:cNvPr id="2" name="Picture 4">
            <a:extLst>
              <a:ext uri="{FF2B5EF4-FFF2-40B4-BE49-F238E27FC236}">
                <a16:creationId xmlns:a16="http://schemas.microsoft.com/office/drawing/2014/main" id="{DD7BCD75-E1F1-C4B1-C1E7-2E41D4258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6913" y="1143000"/>
            <a:ext cx="8258175" cy="5138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361255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Deloitt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oposal (print).potx" id="{E45B778A-39F9-462A-8DB8-EE5148C425B8}" vid="{9FD99013-1F1C-4317-AAD3-7B13D2FB964F}"/>
    </a:ext>
  </a:extLst>
</a:theme>
</file>

<file path=ppt/theme/theme2.xml><?xml version="1.0" encoding="utf-8"?>
<a:theme xmlns:a="http://schemas.openxmlformats.org/drawingml/2006/main" name="1_Blank">
  <a:themeElements>
    <a:clrScheme name="Deloitt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oposal (print).potx" id="{E45B778A-39F9-462A-8DB8-EE5148C425B8}" vid="{9FD99013-1F1C-4317-AAD3-7B13D2FB964F}"/>
    </a:ext>
  </a:extLst>
</a:theme>
</file>

<file path=ppt/theme/theme3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4_3_Onscreen.potx" id="{300F3ED9-9C4C-4838-B157-107BB206E623}" vid="{ABD9136E-862F-4680-B56C-E8832C898BE1}"/>
    </a:ext>
  </a:extLst>
</a:theme>
</file>

<file path=ppt/theme/theme4.xml><?xml version="1.0" encoding="utf-8"?>
<a:theme xmlns:a="http://schemas.openxmlformats.org/drawingml/2006/main" name="2_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4_3_Onscreen.potx" id="{300F3ED9-9C4C-4838-B157-107BB206E623}" vid="{ABD9136E-862F-4680-B56C-E8832C898BE1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rand Refresh 2016</Template>
  <TotalTime>26023</TotalTime>
  <Words>287</Words>
  <Application>Microsoft Office PowerPoint</Application>
  <PresentationFormat>Widescreen</PresentationFormat>
  <Paragraphs>36</Paragraphs>
  <Slides>6</Slides>
  <Notes>2</Notes>
  <HiddenSlides>0</HiddenSlides>
  <MMClips>1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7" baseType="lpstr">
      <vt:lpstr>Arial</vt:lpstr>
      <vt:lpstr>Calibri</vt:lpstr>
      <vt:lpstr>Open Sans</vt:lpstr>
      <vt:lpstr>Roboto</vt:lpstr>
      <vt:lpstr>Verdana</vt:lpstr>
      <vt:lpstr>Wingdings 2</vt:lpstr>
      <vt:lpstr>Blank</vt:lpstr>
      <vt:lpstr>1_Blank</vt:lpstr>
      <vt:lpstr>Deloitte 16_9 onscreen</vt:lpstr>
      <vt:lpstr>2_Deloitte 16_9 onscreen</vt:lpstr>
      <vt:lpstr>think-cell Slide</vt:lpstr>
      <vt:lpstr>PowerPoint Presentation</vt:lpstr>
      <vt:lpstr>Meet the Team</vt:lpstr>
      <vt:lpstr>Data Description</vt:lpstr>
      <vt:lpstr>Demo</vt:lpstr>
      <vt:lpstr>Key Takeaways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Verdana Bold</dc:title>
  <dc:creator>Latta, Steve;Badhwar, Nupur</dc:creator>
  <cp:lastModifiedBy>Rohan Mehta</cp:lastModifiedBy>
  <cp:revision>343</cp:revision>
  <cp:lastPrinted>2014-06-25T02:16:22Z</cp:lastPrinted>
  <dcterms:created xsi:type="dcterms:W3CDTF">2016-04-23T12:13:04Z</dcterms:created>
  <dcterms:modified xsi:type="dcterms:W3CDTF">2022-12-07T08:24:52Z</dcterms:modified>
</cp:coreProperties>
</file>